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omments/comment1.xml" ContentType="application/vnd.openxmlformats-officedocument.presentationml.comment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rupama Puthur Venkataraman" initials="NV" lastIdx="1" clrIdx="0">
    <p:extLst>
      <p:ext uri="{19B8F6BF-5375-455C-9EA6-DF929625EA0E}">
        <p15:presenceInfo xmlns:p15="http://schemas.microsoft.com/office/powerpoint/2012/main" userId="733161b49ed7e5fd" providerId="Windows Live"/>
      </p:ext>
    </p:extLst>
  </p:cmAuthor>
  <p:cmAuthor id="2" name="Fiona Dean" initials="FD" lastIdx="1" clrIdx="1">
    <p:extLst>
      <p:ext uri="{19B8F6BF-5375-455C-9EA6-DF929625EA0E}">
        <p15:presenceInfo xmlns:p15="http://schemas.microsoft.com/office/powerpoint/2012/main" userId="6648d5f0034946b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8818DE-E49E-4E30-918B-3A5203E781CA}" v="1" dt="2021-04-19T20:59:34.617"/>
    <p1510:client id="{1790B1E6-4D8B-459A-949C-CDB93D58E1FD}" v="1" dt="2021-04-17T00:29:38.196"/>
    <p1510:client id="{7683E8F0-14D5-42FF-A26E-3B54E233C58B}" v="73" dt="2021-02-10T20:52:42.6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commentAuthors" Target="commentAuthors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iona Dean" userId="6648d5f0034946ba" providerId="Windows Live" clId="Web-{178818DE-E49E-4E30-918B-3A5203E781CA}"/>
    <pc:docChg chg="">
      <pc:chgData name="Fiona Dean" userId="6648d5f0034946ba" providerId="Windows Live" clId="Web-{178818DE-E49E-4E30-918B-3A5203E781CA}" dt="2021-04-19T20:59:34.617" v="0"/>
      <pc:docMkLst>
        <pc:docMk/>
      </pc:docMkLst>
      <pc:sldChg chg="addCm">
        <pc:chgData name="Fiona Dean" userId="6648d5f0034946ba" providerId="Windows Live" clId="Web-{178818DE-E49E-4E30-918B-3A5203E781CA}" dt="2021-04-19T20:59:34.617" v="0"/>
        <pc:sldMkLst>
          <pc:docMk/>
          <pc:sldMk cId="2007862539" sldId="392"/>
        </pc:sldMkLst>
      </pc:sldChg>
    </pc:docChg>
  </pc:docChgLst>
  <pc:docChgLst>
    <pc:chgData name="Nirupama Puthur Venkataraman" userId="733161b49ed7e5fd" providerId="Windows Live" clId="Web-{1790B1E6-4D8B-459A-949C-CDB93D58E1FD}"/>
    <pc:docChg chg="">
      <pc:chgData name="Nirupama Puthur Venkataraman" userId="733161b49ed7e5fd" providerId="Windows Live" clId="Web-{1790B1E6-4D8B-459A-949C-CDB93D58E1FD}" dt="2021-04-17T00:29:38.196" v="0"/>
      <pc:docMkLst>
        <pc:docMk/>
      </pc:docMkLst>
      <pc:sldChg chg="addCm">
        <pc:chgData name="Nirupama Puthur Venkataraman" userId="733161b49ed7e5fd" providerId="Windows Live" clId="Web-{1790B1E6-4D8B-459A-949C-CDB93D58E1FD}" dt="2021-04-17T00:29:38.196" v="0"/>
        <pc:sldMkLst>
          <pc:docMk/>
          <pc:sldMk cId="2007862539" sldId="392"/>
        </pc:sldMkLst>
      </pc:sldChg>
    </pc:docChg>
  </pc:docChgLst>
  <pc:docChgLst>
    <pc:chgData name="Fiona Dean" userId="6648d5f0034946ba" providerId="Windows Live" clId="Web-{7683E8F0-14D5-42FF-A26E-3B54E233C58B}"/>
    <pc:docChg chg="modSld">
      <pc:chgData name="Fiona Dean" userId="6648d5f0034946ba" providerId="Windows Live" clId="Web-{7683E8F0-14D5-42FF-A26E-3B54E233C58B}" dt="2021-02-10T20:52:41.006" v="59" actId="20577"/>
      <pc:docMkLst>
        <pc:docMk/>
      </pc:docMkLst>
      <pc:sldChg chg="addSp delSp modSp">
        <pc:chgData name="Fiona Dean" userId="6648d5f0034946ba" providerId="Windows Live" clId="Web-{7683E8F0-14D5-42FF-A26E-3B54E233C58B}" dt="2021-02-10T20:52:41.006" v="59" actId="20577"/>
        <pc:sldMkLst>
          <pc:docMk/>
          <pc:sldMk cId="2007862539" sldId="392"/>
        </pc:sldMkLst>
        <pc:spChg chg="mod">
          <ac:chgData name="Fiona Dean" userId="6648d5f0034946ba" providerId="Windows Live" clId="Web-{7683E8F0-14D5-42FF-A26E-3B54E233C58B}" dt="2021-02-10T20:51:08.694" v="28" actId="20577"/>
          <ac:spMkLst>
            <pc:docMk/>
            <pc:sldMk cId="2007862539" sldId="392"/>
            <ac:spMk id="3" creationId="{F7CC8F6F-F722-4F6F-8BAB-BAAF3438C6A2}"/>
          </ac:spMkLst>
        </pc:spChg>
        <pc:spChg chg="mod">
          <ac:chgData name="Fiona Dean" userId="6648d5f0034946ba" providerId="Windows Live" clId="Web-{7683E8F0-14D5-42FF-A26E-3B54E233C58B}" dt="2021-02-10T20:51:13.319" v="31" actId="20577"/>
          <ac:spMkLst>
            <pc:docMk/>
            <pc:sldMk cId="2007862539" sldId="392"/>
            <ac:spMk id="5" creationId="{BE6D86FE-D8F1-40C0-8751-D4F20FB58738}"/>
          </ac:spMkLst>
        </pc:spChg>
        <pc:spChg chg="mod">
          <ac:chgData name="Fiona Dean" userId="6648d5f0034946ba" providerId="Windows Live" clId="Web-{7683E8F0-14D5-42FF-A26E-3B54E233C58B}" dt="2021-02-10T20:52:19.975" v="45" actId="20577"/>
          <ac:spMkLst>
            <pc:docMk/>
            <pc:sldMk cId="2007862539" sldId="392"/>
            <ac:spMk id="6" creationId="{A62C49D4-82EC-4578-A00C-A6CC31BD214D}"/>
          </ac:spMkLst>
        </pc:spChg>
        <pc:spChg chg="add del mod">
          <ac:chgData name="Fiona Dean" userId="6648d5f0034946ba" providerId="Windows Live" clId="Web-{7683E8F0-14D5-42FF-A26E-3B54E233C58B}" dt="2021-02-10T20:44:47.682" v="5"/>
          <ac:spMkLst>
            <pc:docMk/>
            <pc:sldMk cId="2007862539" sldId="392"/>
            <ac:spMk id="11" creationId="{2BC66AF4-E35A-455B-A65F-CEFBDE49DF60}"/>
          </ac:spMkLst>
        </pc:spChg>
        <pc:spChg chg="mod">
          <ac:chgData name="Fiona Dean" userId="6648d5f0034946ba" providerId="Windows Live" clId="Web-{7683E8F0-14D5-42FF-A26E-3B54E233C58B}" dt="2021-02-10T20:52:15.069" v="43" actId="20577"/>
          <ac:spMkLst>
            <pc:docMk/>
            <pc:sldMk cId="2007862539" sldId="392"/>
            <ac:spMk id="24" creationId="{67987464-1BC8-47B3-8E49-660CBBA650B6}"/>
          </ac:spMkLst>
        </pc:spChg>
        <pc:spChg chg="mod">
          <ac:chgData name="Fiona Dean" userId="6648d5f0034946ba" providerId="Windows Live" clId="Web-{7683E8F0-14D5-42FF-A26E-3B54E233C58B}" dt="2021-02-10T20:52:24.068" v="48" actId="20577"/>
          <ac:spMkLst>
            <pc:docMk/>
            <pc:sldMk cId="2007862539" sldId="392"/>
            <ac:spMk id="25" creationId="{4B4E9F8B-31BA-4E4E-84E7-360424AB2B99}"/>
          </ac:spMkLst>
        </pc:spChg>
        <pc:spChg chg="mod">
          <ac:chgData name="Fiona Dean" userId="6648d5f0034946ba" providerId="Windows Live" clId="Web-{7683E8F0-14D5-42FF-A26E-3B54E233C58B}" dt="2021-02-10T20:52:28.334" v="50" actId="20577"/>
          <ac:spMkLst>
            <pc:docMk/>
            <pc:sldMk cId="2007862539" sldId="392"/>
            <ac:spMk id="26" creationId="{6C2F10C4-4FAB-4FC3-929F-77F655AADC6B}"/>
          </ac:spMkLst>
        </pc:spChg>
        <pc:spChg chg="mod">
          <ac:chgData name="Fiona Dean" userId="6648d5f0034946ba" providerId="Windows Live" clId="Web-{7683E8F0-14D5-42FF-A26E-3B54E233C58B}" dt="2021-02-10T20:52:33.274" v="54" actId="20577"/>
          <ac:spMkLst>
            <pc:docMk/>
            <pc:sldMk cId="2007862539" sldId="392"/>
            <ac:spMk id="27" creationId="{7CF47F44-5E99-482F-817B-5BEFB3D17BDE}"/>
          </ac:spMkLst>
        </pc:spChg>
        <pc:spChg chg="mod">
          <ac:chgData name="Fiona Dean" userId="6648d5f0034946ba" providerId="Windows Live" clId="Web-{7683E8F0-14D5-42FF-A26E-3B54E233C58B}" dt="2021-02-10T20:52:35.865" v="56" actId="20577"/>
          <ac:spMkLst>
            <pc:docMk/>
            <pc:sldMk cId="2007862539" sldId="392"/>
            <ac:spMk id="28" creationId="{3BCB8F1D-AD04-4C82-9EC2-14AEC6B451A6}"/>
          </ac:spMkLst>
        </pc:spChg>
        <pc:spChg chg="mod">
          <ac:chgData name="Fiona Dean" userId="6648d5f0034946ba" providerId="Windows Live" clId="Web-{7683E8F0-14D5-42FF-A26E-3B54E233C58B}" dt="2021-02-10T20:52:41.006" v="59" actId="20577"/>
          <ac:spMkLst>
            <pc:docMk/>
            <pc:sldMk cId="2007862539" sldId="392"/>
            <ac:spMk id="29" creationId="{61AF2829-6123-4E35-A5EA-3FFD21D0189C}"/>
          </ac:spMkLst>
        </pc:spChg>
        <pc:spChg chg="add mod">
          <ac:chgData name="Fiona Dean" userId="6648d5f0034946ba" providerId="Windows Live" clId="Web-{7683E8F0-14D5-42FF-A26E-3B54E233C58B}" dt="2021-02-10T20:51:51.053" v="38" actId="1076"/>
          <ac:spMkLst>
            <pc:docMk/>
            <pc:sldMk cId="2007862539" sldId="392"/>
            <ac:spMk id="30" creationId="{98BCBE4C-240F-48E0-A7AC-020857FD2796}"/>
          </ac:spMkLst>
        </pc:spChg>
        <pc:spChg chg="add mod">
          <ac:chgData name="Fiona Dean" userId="6648d5f0034946ba" providerId="Windows Live" clId="Web-{7683E8F0-14D5-42FF-A26E-3B54E233C58B}" dt="2021-02-10T20:52:01.194" v="39" actId="1076"/>
          <ac:spMkLst>
            <pc:docMk/>
            <pc:sldMk cId="2007862539" sldId="392"/>
            <ac:spMk id="32" creationId="{36943CDB-65AF-49DD-A965-94245FA4B0F6}"/>
          </ac:spMkLst>
        </pc:spChg>
        <pc:spChg chg="mod">
          <ac:chgData name="Fiona Dean" userId="6648d5f0034946ba" providerId="Windows Live" clId="Web-{7683E8F0-14D5-42FF-A26E-3B54E233C58B}" dt="2021-02-10T20:51:17.366" v="33" actId="20577"/>
          <ac:spMkLst>
            <pc:docMk/>
            <pc:sldMk cId="2007862539" sldId="392"/>
            <ac:spMk id="46" creationId="{72036B6F-7D09-4959-B3BC-BA5FEA4833E6}"/>
          </ac:spMkLst>
        </pc:spChg>
        <pc:graphicFrameChg chg="add del mod">
          <ac:chgData name="Fiona Dean" userId="6648d5f0034946ba" providerId="Windows Live" clId="Web-{7683E8F0-14D5-42FF-A26E-3B54E233C58B}" dt="2021-02-10T20:44:47.682" v="6"/>
          <ac:graphicFrameMkLst>
            <pc:docMk/>
            <pc:sldMk cId="2007862539" sldId="392"/>
            <ac:graphicFrameMk id="9" creationId="{9365C7ED-41F6-49CE-A07C-FBC7F5D9CA12}"/>
          </ac:graphicFrameMkLst>
        </pc:graphicFrame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4-16T17:29:38.196" idx="1">
    <p:pos x="5605" y="110"/>
    <p:text>Good start. In addition, we need a similar value driver tree fo the costs as well. The Expenses + Revenue Value driver tree will together give the EBIT value driver tree.
</p:text>
    <p:extLst>
      <p:ext uri="{C676402C-5697-4E1C-873F-D02D1690AC5C}">
        <p15:threadingInfo xmlns:p15="http://schemas.microsoft.com/office/powerpoint/2012/main" timeZoneBias="420"/>
      </p:ext>
    </p:extLst>
  </p:cm>
  <p:cm authorId="2" dt="2021-04-19T13:59:34.617" idx="1">
    <p:pos x="5605" y="206"/>
    <p:text>I thought that's unit 5.6 and 5.8, which are submitted and passed?
</p:text>
    <p:extLst>
      <p:ext uri="{C676402C-5697-4E1C-873F-D02D1690AC5C}">
        <p15:threadingInfo xmlns:p15="http://schemas.microsoft.com/office/powerpoint/2012/main" timeZoneBias="420">
          <p15:parentCm authorId="1" idx="1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9/04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/>
              <a:t>Revenue Value Driver Tree</a:t>
            </a:r>
            <a:endParaRPr lang="en-AU" sz="1400" b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b="1">
                <a:solidFill>
                  <a:schemeClr val="tx1"/>
                </a:solidFill>
              </a:rPr>
              <a:t>Revenues ($)</a:t>
            </a:r>
            <a:endParaRPr lang="en-AU" sz="1050" b="1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001 Private Water Hedge Sales ($)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003 Residential Sales ($)</a:t>
            </a:r>
            <a:endParaRPr lang="en-US"/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304806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002 Public Sales ($)</a:t>
            </a: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W-Transact (0211) - Soft ($)</a:t>
            </a:r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2055534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W-Transact (0212) - Hard ($)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W-Transact (0211) - Soft ($)</a:t>
            </a:r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W-Transact (0212) - Hard ($)</a:t>
            </a:r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298037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W-Transact (0211) - Soft ($)</a:t>
            </a:r>
            <a:endParaRPr lang="en-US"/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984000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4800" y="1594716"/>
            <a:ext cx="863600" cy="680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stCxn id="24" idx="3"/>
            <a:endCxn id="27" idx="1"/>
          </p:cNvCxnSpPr>
          <p:nvPr/>
        </p:nvCxnSpPr>
        <p:spPr>
          <a:xfrm flipV="1">
            <a:off x="4124325" y="2924497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stCxn id="24" idx="3"/>
            <a:endCxn id="28" idx="1"/>
          </p:cNvCxnSpPr>
          <p:nvPr/>
        </p:nvCxnSpPr>
        <p:spPr>
          <a:xfrm>
            <a:off x="4124325" y="3403667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b="1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stCxn id="6" idx="3"/>
            <a:endCxn id="29" idx="1"/>
          </p:cNvCxnSpPr>
          <p:nvPr/>
        </p:nvCxnSpPr>
        <p:spPr>
          <a:xfrm flipV="1">
            <a:off x="4124325" y="5517756"/>
            <a:ext cx="854075" cy="75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98BCBE4C-240F-48E0-A7AC-020857FD2796}"/>
              </a:ext>
            </a:extLst>
          </p:cNvPr>
          <p:cNvSpPr/>
          <p:nvPr/>
        </p:nvSpPr>
        <p:spPr>
          <a:xfrm>
            <a:off x="4412100" y="1506368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b="1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36943CDB-65AF-49DD-A965-94245FA4B0F6}"/>
              </a:ext>
            </a:extLst>
          </p:cNvPr>
          <p:cNvSpPr/>
          <p:nvPr/>
        </p:nvSpPr>
        <p:spPr>
          <a:xfrm>
            <a:off x="4423264" y="328163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b="1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Custom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Synergy_CF_YNR013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revision>1</cp:revision>
  <dcterms:created xsi:type="dcterms:W3CDTF">2020-04-12T13:23:13Z</dcterms:created>
  <dcterms:modified xsi:type="dcterms:W3CDTF">2021-04-19T20:59:38Z</dcterms:modified>
</cp:coreProperties>
</file>